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92157" autoAdjust="0"/>
  </p:normalViewPr>
  <p:slideViewPr>
    <p:cSldViewPr snapToGrid="0">
      <p:cViewPr varScale="1">
        <p:scale>
          <a:sx n="102" d="100"/>
          <a:sy n="102" d="100"/>
        </p:scale>
        <p:origin x="876" y="102"/>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1F7B1EBC-AEA2-4F52-A754-329A54F3EE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AC102E37-5D50-4A5B-B3BE-0586B4A29C5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F3C96712-4C21-42DC-8310-62E4BE19AEE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7</c:v>
                </c:pt>
                <c:pt idx="1">
                  <c:v>0.33</c:v>
                </c:pt>
                <c:pt idx="2">
                  <c:v>0.31</c:v>
                </c:pt>
                <c:pt idx="3">
                  <c:v>0.09</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27%</c:v>
                  </c:pt>
                  <c:pt idx="1">
                    <c:v>33%</c:v>
                  </c:pt>
                  <c:pt idx="2">
                    <c:v>31%</c:v>
                  </c:pt>
                  <c:pt idx="3">
                    <c:v>9%</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2392D2B8-FE68-41E9-8C73-A1FC32C609F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5E4E1481-57AF-4CEC-8984-5966EF7625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D4FE6FFC-17ED-48B5-92F7-D4F8CD13D9A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5</c:v>
                </c:pt>
                <c:pt idx="2">
                  <c:v>0.53</c:v>
                </c:pt>
                <c:pt idx="3">
                  <c:v>0.3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c:v>
                  </c:pt>
                  <c:pt idx="1">
                    <c:v>15%</c:v>
                  </c:pt>
                  <c:pt idx="2">
                    <c:v>53%</c:v>
                  </c:pt>
                  <c:pt idx="3">
                    <c:v>31%</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5</c:v>
                </c:pt>
                <c:pt idx="1">
                  <c:v>0.78</c:v>
                </c:pt>
                <c:pt idx="2">
                  <c:v>0.78</c:v>
                </c:pt>
                <c:pt idx="3">
                  <c:v>0.9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BF8ED18B-2E20-4CF0-A922-E01F2971E18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2ED57784-BCF9-4423-BFB6-A7D2FCABF2A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89667A01-C7E9-4FC7-8CDC-0DC308786E1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5</c:v>
                </c:pt>
                <c:pt idx="1">
                  <c:v>0.22</c:v>
                </c:pt>
                <c:pt idx="2">
                  <c:v>0.22</c:v>
                </c:pt>
                <c:pt idx="3">
                  <c:v>7.0000000000000007E-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85%</c:v>
                  </c:pt>
                  <c:pt idx="1">
                    <c:v>78%</c:v>
                  </c:pt>
                  <c:pt idx="2">
                    <c:v>78%</c:v>
                  </c:pt>
                  <c:pt idx="3">
                    <c:v>93%</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1</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711881B3-158C-4865-8EAB-AC7E930D3F4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380CEEDE-1443-4574-851B-098B210B628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6FA59E33-5553-4D66-9F3C-08E708BBD04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A2D6603C-3C27-469D-BFD5-082DA4D439C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9</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1%</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1</c:v>
                </c:pt>
                <c:pt idx="1">
                  <c:v>0.81</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69387290-B94A-4224-A0BA-4D9A2A303F6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60371B1A-9F92-471C-BEA0-314F657329E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42089870-3392-4162-96F4-E2CCA59BE68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525FA1FA-3798-4DCB-88E8-A5B0E8FB503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9</c:v>
                </c:pt>
                <c:pt idx="1">
                  <c:v>0.19</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1%</c:v>
                  </c:pt>
                  <c:pt idx="1">
                    <c:v>81%</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1</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1283EECB-1107-49E0-B627-E063F122628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B5E3F4E0-F717-4EB8-B8D4-EA1A33631DF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9</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1%</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5%</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c:v>
                </c:pt>
                <c:pt idx="1">
                  <c:v>0.93</c:v>
                </c:pt>
                <c:pt idx="2">
                  <c:v>0.83</c:v>
                </c:pt>
                <c:pt idx="3">
                  <c:v>0.85</c:v>
                </c:pt>
                <c:pt idx="4">
                  <c:v>0.84</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11B478DA-0596-4587-9920-8364B513AFB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9C3876F0-8AF8-4EFE-8332-7655AFEB6FA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3174CB20-AE19-47DF-B95B-ACE9D00658F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8FA86F42-62BD-4B32-BF1E-853FACCA2B1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2</c:v>
                </c:pt>
                <c:pt idx="1">
                  <c:v>7.0000000000000007E-2</c:v>
                </c:pt>
                <c:pt idx="2">
                  <c:v>0.17</c:v>
                </c:pt>
                <c:pt idx="3">
                  <c:v>0.15</c:v>
                </c:pt>
                <c:pt idx="4">
                  <c:v>0.1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0%</c:v>
                  </c:pt>
                  <c:pt idx="1">
                    <c:v>93%</c:v>
                  </c:pt>
                  <c:pt idx="2">
                    <c:v>83%</c:v>
                  </c:pt>
                  <c:pt idx="3">
                    <c:v>85%</c:v>
                  </c:pt>
                  <c:pt idx="4">
                    <c:v>84%</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5</c:v>
                </c:pt>
                <c:pt idx="2">
                  <c:v>0.85</c:v>
                </c:pt>
                <c:pt idx="3">
                  <c:v>0.8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A02AC59D-B9B6-40AC-8741-017F0DEE968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F35FE090-556D-4F6C-9A44-2048EC0E172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B046F747-7DAF-4BEA-9C66-6365C399B7E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5</c:v>
                </c:pt>
                <c:pt idx="2">
                  <c:v>0.15</c:v>
                </c:pt>
                <c:pt idx="3">
                  <c:v>0.1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c:v>
                  </c:pt>
                  <c:pt idx="1">
                    <c:v>85%</c:v>
                  </c:pt>
                  <c:pt idx="2">
                    <c:v>85%</c:v>
                  </c:pt>
                  <c:pt idx="3">
                    <c:v>85%</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5</c:v>
                </c:pt>
                <c:pt idx="1">
                  <c:v>0</c:v>
                </c:pt>
                <c:pt idx="2">
                  <c:v>0.87</c:v>
                </c:pt>
                <c:pt idx="3">
                  <c:v>0.93</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E646E337-A64D-4950-8AC4-838BC5836FC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3EAA3EC7-875A-4171-BA2F-DBE2CC59466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10BFFC88-F1F3-4EE8-9438-65727BCE5EC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B08A2909-6F18-4465-8ECD-28ECFCEC2A9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5</c:v>
                </c:pt>
                <c:pt idx="1">
                  <c:v>0</c:v>
                </c:pt>
                <c:pt idx="2">
                  <c:v>0.13</c:v>
                </c:pt>
                <c:pt idx="3">
                  <c:v>7.0000000000000007E-2</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5%</c:v>
                  </c:pt>
                  <c:pt idx="1">
                    <c:v>-</c:v>
                  </c:pt>
                  <c:pt idx="2">
                    <c:v>87%</c:v>
                  </c:pt>
                  <c:pt idx="3">
                    <c:v>93%</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4</c:v>
                </c:pt>
                <c:pt idx="1">
                  <c:v>0.86</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15B6A4E0-B80E-4ED7-B6ED-CF0FAE95A19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85B66EFB-EF3A-4DFB-9036-8F224677870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24036BB0-56E5-4AA9-BD8D-D2DD1CF688C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359D4062-E372-4B63-A877-8CD63273CE5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6</c:v>
                </c:pt>
                <c:pt idx="1">
                  <c:v>0.14000000000000001</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4%</c:v>
                  </c:pt>
                  <c:pt idx="1">
                    <c:v>86%</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5</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149C0529-C074-496C-AFEB-69A8D834970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64AACC00-7781-4E31-AD17-224241CA966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5</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5%</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4</c:v>
                </c:pt>
                <c:pt idx="1">
                  <c:v>88</c:v>
                </c:pt>
                <c:pt idx="2">
                  <c:v>3</c:v>
                </c:pt>
                <c:pt idx="3">
                  <c:v>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84</c:v>
                </c:pt>
                <c:pt idx="1">
                  <c:v>14</c:v>
                </c:pt>
                <c:pt idx="2">
                  <c:v>1</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A3592707-3490-401E-83CE-BDBC0E6D94B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0807C572-77D2-40C6-A795-6E1508815A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FFD31580-461F-4567-AAC6-11566B3CFCB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D1EE722F-64A8-4198-BCFB-0317E69311E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A15B6AB6-747D-446F-A022-3EBBA41C3CA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90AB59E7-DE0F-4EC6-A8C5-B916000086B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9</c:v>
                </c:pt>
                <c:pt idx="1">
                  <c:v>6</c:v>
                </c:pt>
                <c:pt idx="2">
                  <c:v>3</c:v>
                </c:pt>
                <c:pt idx="3">
                  <c:v>2</c:v>
                </c:pt>
                <c:pt idx="4">
                  <c:v>4</c:v>
                </c:pt>
                <c:pt idx="5">
                  <c:v>2</c:v>
                </c:pt>
                <c:pt idx="6">
                  <c:v>4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49%</c:v>
                  </c:pt>
                  <c:pt idx="1">
                    <c:v>6%</c:v>
                  </c:pt>
                  <c:pt idx="2">
                    <c:v>3%</c:v>
                  </c:pt>
                  <c:pt idx="3">
                    <c:v>2%</c:v>
                  </c:pt>
                  <c:pt idx="4">
                    <c:v>4%</c:v>
                  </c:pt>
                  <c:pt idx="5">
                    <c:v>2%</c:v>
                  </c:pt>
                  <c:pt idx="6">
                    <c:v>40%</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936F38CF-0CD5-4DAB-A576-6B914E34A04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5807D6EB-1DED-476A-B88F-5518AF5AE32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BE597C05-0E77-4C8B-B655-C056C5FD4F3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D23D4DB4-E217-48E5-B530-C9CEF1CE8E0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D9FCAC79-09D1-4F2D-A76E-E988D21CDFE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857842C1-037C-494E-9A6B-069A356046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9</c:v>
                </c:pt>
                <c:pt idx="1">
                  <c:v>9</c:v>
                </c:pt>
                <c:pt idx="2">
                  <c:v>3</c:v>
                </c:pt>
                <c:pt idx="3">
                  <c:v>4</c:v>
                </c:pt>
                <c:pt idx="4">
                  <c:v>15</c:v>
                </c:pt>
                <c:pt idx="5">
                  <c:v>4</c:v>
                </c:pt>
                <c:pt idx="6">
                  <c:v>3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49%</c:v>
                  </c:pt>
                  <c:pt idx="1">
                    <c:v>9%</c:v>
                  </c:pt>
                  <c:pt idx="2">
                    <c:v>3%</c:v>
                  </c:pt>
                  <c:pt idx="3">
                    <c:v>4%</c:v>
                  </c:pt>
                  <c:pt idx="4">
                    <c:v>15%</c:v>
                  </c:pt>
                  <c:pt idx="5">
                    <c:v>4%</c:v>
                  </c:pt>
                  <c:pt idx="6">
                    <c:v>30%</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80466F00-145A-47FD-A168-D348FF0490A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B41225E1-76C3-42C4-9263-B4FB0AC7AE7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2</c:v>
                </c:pt>
                <c:pt idx="1">
                  <c:v>8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2%</c:v>
                  </c:pt>
                  <c:pt idx="1">
                    <c:v>88%</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762BA460-345F-473E-8855-0AF1B34B796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71130F0B-4386-42EB-AE64-FE47E98178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4</c:v>
                </c:pt>
                <c:pt idx="1">
                  <c:v>8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4%</c:v>
                  </c:pt>
                  <c:pt idx="1">
                    <c:v>86%</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31AA8525-3E1F-4262-9E4E-1705310E941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C1BFF576-3F9C-4D91-B1D1-AD9692A0BF0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0</c:v>
                </c:pt>
                <c:pt idx="1">
                  <c:v>8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0%</c:v>
                  </c:pt>
                  <c:pt idx="1">
                    <c:v>80%</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5F5455E7-F3FB-4984-A5CD-DDF0E832FF3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680AB5D0-7CDC-43BC-A54D-D854503C658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D68A517B-7898-4F34-A1A5-2C20AA83F8E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CB021F93-2AA0-4541-B27A-A7EA3DC84B2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62</c:v>
                </c:pt>
                <c:pt idx="1">
                  <c:v>0.37</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62%</c:v>
                  </c:pt>
                  <c:pt idx="1">
                    <c:v>37%</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34E8C18F-A812-4178-A323-C57CE4BEDC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7410AE26-DA08-4FE6-BC13-8AD4B9288E8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5435F3C8-13BA-497A-9DA6-42C8DEF14D5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83A47ACE-FA72-4B7B-B1F4-AACFBFC1850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4</c:v>
                </c:pt>
                <c:pt idx="1">
                  <c:v>0.46</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4%</c:v>
                  </c:pt>
                  <c:pt idx="1">
                    <c:v>46%</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986151CD-69D0-4317-9D65-46082AFE879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29%</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1819-49AB-9068-B304DBA3CCB4}"/>
                </c:ext>
              </c:extLst>
            </c:dLbl>
            <c:dLbl>
              <c:idx val="1"/>
              <c:tx>
                <c:rich>
                  <a:bodyPr/>
                  <a:lstStyle/>
                  <a:p>
                    <a:r>
                      <a:rPr lang="en-GB"/>
                      <a:t>7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9</c:v>
                </c:pt>
                <c:pt idx="1">
                  <c:v>7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9%p</c:v>
                  </c:pt>
                  <c:pt idx="1">
                    <c:v>71%q</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456FAF24-0456-4C76-96F7-7C042D0CEC0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B052253D-6ECF-4E2E-9183-B9563ED969F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c:v>
                </c:pt>
                <c:pt idx="1">
                  <c:v>9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c:v>
                  </c:pt>
                  <c:pt idx="1">
                    <c:v>96%</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415CFA59-309E-436A-B032-82755F806F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D68EB81A-A7CC-40DC-B290-C16F53066D4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9</c:v>
                </c:pt>
                <c:pt idx="1">
                  <c:v>9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9%</c:v>
                  </c:pt>
                  <c:pt idx="1">
                    <c:v>91%</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GB"/>
                      <a:t>7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73EB-456C-B74D-581899DAC290}"/>
                </c:ext>
              </c:extLst>
            </c:dLbl>
            <c:dLbl>
              <c:idx val="1"/>
              <c:tx>
                <c:rich>
                  <a:bodyPr/>
                  <a:lstStyle/>
                  <a:p>
                    <a:fld id="{0DA343D9-F3BB-4283-A67B-271048A6C07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DBA81B8E-25AA-40A2-82F5-3D070BC1C7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r>
                      <a:rPr lang="en-GB"/>
                      <a:t>5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3EB-456C-B74D-581899DAC290}"/>
                </c:ext>
              </c:extLst>
            </c:dLbl>
            <c:dLbl>
              <c:idx val="4"/>
              <c:tx>
                <c:rich>
                  <a:bodyPr/>
                  <a:lstStyle/>
                  <a:p>
                    <a:r>
                      <a:rPr lang="en-GB"/>
                      <a:t>88%</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73EB-456C-B74D-581899DAC290}"/>
                </c:ext>
              </c:extLst>
            </c:dLbl>
            <c:dLbl>
              <c:idx val="5"/>
              <c:tx>
                <c:rich>
                  <a:bodyPr/>
                  <a:lstStyle/>
                  <a:p>
                    <a:r>
                      <a:rPr lang="en-GB"/>
                      <a:t>2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73EB-456C-B74D-581899DAC290}"/>
                </c:ext>
              </c:extLst>
            </c:dLbl>
            <c:dLbl>
              <c:idx val="6"/>
              <c:tx>
                <c:rich>
                  <a:bodyPr/>
                  <a:lstStyle/>
                  <a:p>
                    <a:fld id="{5171B4D6-4A98-469D-8EB4-28A0D2B15D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76</c:v>
                </c:pt>
                <c:pt idx="1">
                  <c:v>90</c:v>
                </c:pt>
                <c:pt idx="2">
                  <c:v>84</c:v>
                </c:pt>
                <c:pt idx="3">
                  <c:v>56</c:v>
                </c:pt>
                <c:pt idx="4">
                  <c:v>88</c:v>
                </c:pt>
                <c:pt idx="5">
                  <c:v>26</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76%q</c:v>
                  </c:pt>
                  <c:pt idx="1">
                    <c:v>90%</c:v>
                  </c:pt>
                  <c:pt idx="2">
                    <c:v>84%</c:v>
                  </c:pt>
                  <c:pt idx="3">
                    <c:v>56%q</c:v>
                  </c:pt>
                  <c:pt idx="4">
                    <c:v>88%q</c:v>
                  </c:pt>
                  <c:pt idx="5">
                    <c:v>26%q</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r>
                      <a:rPr lang="en-GB"/>
                      <a:t>7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3E36-4621-A2A8-3ADDA83CA04C}"/>
                </c:ext>
              </c:extLst>
            </c:dLbl>
            <c:dLbl>
              <c:idx val="1"/>
              <c:tx>
                <c:rich>
                  <a:bodyPr/>
                  <a:lstStyle/>
                  <a:p>
                    <a:fld id="{CA66D488-84EC-4493-85AB-43653A9D343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788ACBE3-307F-4085-A436-8D223697EC5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r>
                      <a:rPr lang="en-GB"/>
                      <a:t>60%</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3E36-4621-A2A8-3ADDA83CA04C}"/>
                </c:ext>
              </c:extLst>
            </c:dLbl>
            <c:dLbl>
              <c:idx val="4"/>
              <c:tx>
                <c:rich>
                  <a:bodyPr/>
                  <a:lstStyle/>
                  <a:p>
                    <a:fld id="{022CA412-6B72-4B82-833C-762BCA4FE10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r>
                      <a:rPr lang="en-GB"/>
                      <a:t>3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E36-4621-A2A8-3ADDA83CA04C}"/>
                </c:ext>
              </c:extLst>
            </c:dLbl>
            <c:dLbl>
              <c:idx val="6"/>
              <c:tx>
                <c:rich>
                  <a:bodyPr/>
                  <a:lstStyle/>
                  <a:p>
                    <a:fld id="{BD1C80E0-D922-4ADB-8ECA-00768A0C8D6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74</c:v>
                </c:pt>
                <c:pt idx="1">
                  <c:v>85</c:v>
                </c:pt>
                <c:pt idx="2">
                  <c:v>74</c:v>
                </c:pt>
                <c:pt idx="3">
                  <c:v>60</c:v>
                </c:pt>
                <c:pt idx="4">
                  <c:v>90</c:v>
                </c:pt>
                <c:pt idx="5">
                  <c:v>31</c:v>
                </c:pt>
                <c:pt idx="6">
                  <c:v>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74%q</c:v>
                  </c:pt>
                  <c:pt idx="1">
                    <c:v>85%</c:v>
                  </c:pt>
                  <c:pt idx="2">
                    <c:v>74%</c:v>
                  </c:pt>
                  <c:pt idx="3">
                    <c:v>60%q</c:v>
                  </c:pt>
                  <c:pt idx="4">
                    <c:v>90%</c:v>
                  </c:pt>
                  <c:pt idx="5">
                    <c:v>31%q</c:v>
                  </c:pt>
                  <c:pt idx="6">
                    <c:v>3%</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3</c:v>
                </c:pt>
                <c:pt idx="1">
                  <c:v>31</c:v>
                </c:pt>
                <c:pt idx="2">
                  <c:v>13</c:v>
                </c:pt>
                <c:pt idx="3">
                  <c:v>2</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2</c:v>
                </c:pt>
                <c:pt idx="1">
                  <c:v>32</c:v>
                </c:pt>
                <c:pt idx="2">
                  <c:v>17</c:v>
                </c:pt>
                <c:pt idx="3">
                  <c:v>5</c:v>
                </c:pt>
                <c:pt idx="4">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384372BF-6A41-401F-BA9F-E60362DE5A8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8F8FB420-94EE-4038-8182-28A52EE9EF6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83E1907F-22CB-4D5F-801B-4CE8B07537B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3465EEFB-8419-48CA-979C-F074135908E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1</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100%</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6</c:v>
                </c:pt>
                <c:pt idx="1">
                  <c:v>21</c:v>
                </c:pt>
                <c:pt idx="2">
                  <c:v>7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11</c:v>
                </c:pt>
                <c:pt idx="1">
                  <c:v>45</c:v>
                </c:pt>
                <c:pt idx="2">
                  <c:v>4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13</c:v>
                </c:pt>
                <c:pt idx="2">
                  <c:v>29</c:v>
                </c:pt>
                <c:pt idx="3">
                  <c:v>19</c:v>
                </c:pt>
                <c:pt idx="4">
                  <c:v>2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24</c:v>
                </c:pt>
                <c:pt idx="2">
                  <c:v>17</c:v>
                </c:pt>
                <c:pt idx="3">
                  <c:v>19</c:v>
                </c:pt>
                <c:pt idx="4">
                  <c:v>2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1600000000000001</c:v>
                </c:pt>
                <c:pt idx="1">
                  <c:v>0.16900000000000001</c:v>
                </c:pt>
                <c:pt idx="2">
                  <c:v>0.16700000000000001</c:v>
                </c:pt>
                <c:pt idx="3">
                  <c:v>0.249</c:v>
                </c:pt>
                <c:pt idx="4">
                  <c:v>0.2979999999999999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13200000000000001</c:v>
                </c:pt>
                <c:pt idx="1">
                  <c:v>0.2</c:v>
                </c:pt>
                <c:pt idx="2">
                  <c:v>0.217</c:v>
                </c:pt>
                <c:pt idx="3">
                  <c:v>0.219</c:v>
                </c:pt>
                <c:pt idx="4">
                  <c:v>0.232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9</c:v>
                </c:pt>
                <c:pt idx="2">
                  <c:v>28</c:v>
                </c:pt>
                <c:pt idx="3">
                  <c:v>21</c:v>
                </c:pt>
                <c:pt idx="4">
                  <c:v>3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18</c:v>
                </c:pt>
                <c:pt idx="2">
                  <c:v>15</c:v>
                </c:pt>
                <c:pt idx="3">
                  <c:v>25</c:v>
                </c:pt>
                <c:pt idx="4">
                  <c:v>3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21</c:v>
                </c:pt>
                <c:pt idx="2">
                  <c:v>25</c:v>
                </c:pt>
                <c:pt idx="3">
                  <c:v>19</c:v>
                </c:pt>
                <c:pt idx="4">
                  <c:v>1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2</c:v>
                </c:pt>
                <c:pt idx="1">
                  <c:v>30</c:v>
                </c:pt>
                <c:pt idx="2">
                  <c:v>16</c:v>
                </c:pt>
                <c:pt idx="3">
                  <c:v>13</c:v>
                </c:pt>
                <c:pt idx="4">
                  <c:v>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621264A2-E1FC-4CA6-8E5C-9B180EBE7BE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16377C59-F50F-4C0E-831D-92696596DE8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7AE12819-B0D6-46BD-88F9-8DEC4913CCF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F4B39D23-E549-4E53-B5D3-C5BA79E3163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6</c:v>
                </c:pt>
                <c:pt idx="1">
                  <c:v>0</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96%</c:v>
                  </c:pt>
                  <c:pt idx="1">
                    <c:v>-</c:v>
                  </c:pt>
                  <c:pt idx="2">
                    <c:v>-</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2204412F-9F63-499A-B1E8-264A69FA41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1F8D8747-CAD8-4FDD-AD12-1E629ED76B4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7E677747-4A5C-4AF9-B902-AF87307E825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DEB6310C-697D-45C1-A84D-7761A85DC30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86</c:v>
                </c:pt>
                <c:pt idx="1">
                  <c:v>0</c:v>
                </c:pt>
                <c:pt idx="2">
                  <c:v>0.08</c:v>
                </c:pt>
                <c:pt idx="3">
                  <c:v>0.04</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86%</c:v>
                  </c:pt>
                  <c:pt idx="1">
                    <c:v>-</c:v>
                  </c:pt>
                  <c:pt idx="2">
                    <c:v>8%</c:v>
                  </c:pt>
                  <c:pt idx="3">
                    <c:v>4%</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0</c:v>
                </c:pt>
                <c:pt idx="2">
                  <c:v>28</c:v>
                </c:pt>
                <c:pt idx="3">
                  <c:v>20</c:v>
                </c:pt>
                <c:pt idx="4">
                  <c:v>3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16</c:v>
                </c:pt>
                <c:pt idx="2">
                  <c:v>24</c:v>
                </c:pt>
                <c:pt idx="3">
                  <c:v>16</c:v>
                </c:pt>
                <c:pt idx="4">
                  <c:v>2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3</c:v>
                </c:pt>
                <c:pt idx="1">
                  <c:v>21</c:v>
                </c:pt>
                <c:pt idx="2">
                  <c:v>41</c:v>
                </c:pt>
                <c:pt idx="3">
                  <c:v>2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1</c:v>
                </c:pt>
                <c:pt idx="1">
                  <c:v>37</c:v>
                </c:pt>
                <c:pt idx="2">
                  <c:v>33</c:v>
                </c:pt>
                <c:pt idx="3">
                  <c:v>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7</c:v>
                </c:pt>
                <c:pt idx="1">
                  <c:v>36</c:v>
                </c:pt>
                <c:pt idx="2">
                  <c:v>12</c:v>
                </c:pt>
                <c:pt idx="3">
                  <c:v>3</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2</c:v>
                </c:pt>
                <c:pt idx="1">
                  <c:v>27</c:v>
                </c:pt>
                <c:pt idx="2">
                  <c:v>5</c:v>
                </c:pt>
                <c:pt idx="3">
                  <c:v>4</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2</c:v>
                </c:pt>
                <c:pt idx="1">
                  <c:v>52</c:v>
                </c:pt>
                <c:pt idx="2">
                  <c:v>12</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3</c:v>
                </c:pt>
                <c:pt idx="1">
                  <c:v>50</c:v>
                </c:pt>
                <c:pt idx="2">
                  <c:v>12</c:v>
                </c:pt>
                <c:pt idx="3">
                  <c:v>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0D6C2931-915C-4A96-921C-BC0E372D7B2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756ED5F4-899D-4E3B-A14C-B5980FB593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85DFDA80-338E-433B-BACC-9C0719D05A4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4D2E1080-72FA-4487-8F8A-7E307D0D6A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3</c:v>
                </c:pt>
                <c:pt idx="1">
                  <c:v>1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3%</c:v>
                  </c:pt>
                  <c:pt idx="1">
                    <c:v>17%</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B5246537-BDB3-47E0-A502-12D9B07A0BE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9536F21B-2FE1-4AC4-B01F-67CBF10F29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6</c:v>
                </c:pt>
                <c:pt idx="1">
                  <c:v>4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6%</c:v>
                  </c:pt>
                  <c:pt idx="1">
                    <c:v>44%</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7E295BA1-EF1E-444E-A2AF-E0C8C66CDDA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4527BCF0-651E-4B85-9621-513BA270C02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3</c:v>
                </c:pt>
                <c:pt idx="1">
                  <c:v>2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3%</c:v>
                  </c:pt>
                  <c:pt idx="1">
                    <c:v>27%</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E0685456-6C42-475C-A2FB-5A580C39E32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3472662F-01D6-41BF-8EB9-39C3E2983C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3</c:v>
                </c:pt>
                <c:pt idx="1">
                  <c:v>5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3%</c:v>
                  </c:pt>
                  <c:pt idx="1">
                    <c:v>57%</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6FDF79A6-F39D-467F-A8F2-E06CC9BDB27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48%</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331F-4356-B084-576816CB2DE3}"/>
                </c:ext>
              </c:extLst>
            </c:dLbl>
            <c:dLbl>
              <c:idx val="1"/>
              <c:tx>
                <c:rich>
                  <a:bodyPr/>
                  <a:lstStyle/>
                  <a:p>
                    <a:r>
                      <a:rPr lang="en-GB"/>
                      <a:t>5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8</c:v>
                </c:pt>
                <c:pt idx="1">
                  <c:v>5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8%p</c:v>
                  </c:pt>
                  <c:pt idx="1">
                    <c:v>52%q</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DE05A95A-FE5D-41D1-997F-0A5C25FFFA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1FFC376A-B5B3-4EB4-A034-FC6E73E7586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7</c:v>
                </c:pt>
                <c:pt idx="1">
                  <c:v>5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7%</c:v>
                  </c:pt>
                  <c:pt idx="1">
                    <c:v>53%</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B3FA2291-77F1-4F05-B0AB-776C358A0EE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426A5E4E-67CA-469D-A954-4D080A33A1C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4</c:v>
                </c:pt>
                <c:pt idx="1">
                  <c:v>6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4%</c:v>
                  </c:pt>
                  <c:pt idx="1">
                    <c:v>66%</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1D175071-4734-4F8B-91B0-0B869E85417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19C3868E-3DB8-4106-AD5A-946F43D1DF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2%</c:v>
                  </c:pt>
                  <c:pt idx="1">
                    <c:v>18%</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39559F0C-B77B-4A0A-A8BB-F1CCB2759B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1%</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1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1%p</c:v>
                  </c:pt>
                  <c:pt idx="1">
                    <c:v>19%q</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5C7E666B-2E8E-43E0-A95C-3186FEE1DF6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F8217D68-4182-422B-9E85-2412A3037A4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4</c:v>
                </c:pt>
                <c:pt idx="1">
                  <c:v>3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4%</c:v>
                  </c:pt>
                  <c:pt idx="1">
                    <c:v>36%</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13EFB1F2-D70D-4016-9B42-3B470156178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81E4E8E3-6D75-4FAB-AAA1-32A9777C7C8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3</c:v>
                </c:pt>
                <c:pt idx="1">
                  <c:v>4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3%</c:v>
                  </c:pt>
                  <c:pt idx="1">
                    <c:v>47%</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EF032127-9A44-4789-A014-3EA6BDAE475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534462DD-97E2-4840-8E8E-938D263E044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B7D9EC73-F2A3-470F-B13E-7A185C91E46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3B29A561-9D96-465E-AA5E-1C77175C3A3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5</c:v>
                </c:pt>
                <c:pt idx="1">
                  <c:v>32</c:v>
                </c:pt>
                <c:pt idx="2">
                  <c:v>2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3</c:v>
                </c:pt>
                <c:pt idx="1">
                  <c:v>47</c:v>
                </c:pt>
                <c:pt idx="2">
                  <c:v>1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2000287C-EBD6-4244-94AB-4D870478BB0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8492FCA9-F933-4742-8D20-7AC2273C91B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F1DBC47D-3985-4F28-A7E6-E9E5A5FA9C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D2CC1B54-C6B7-4C73-A4AD-A2F7E6CE6A0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ECA6D38A-BD73-48C8-B64E-C0B465FBA9E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5FFF02A3-C5B6-4424-992C-ED905EBE62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2</c:v>
                </c:pt>
                <c:pt idx="1">
                  <c:v>6</c:v>
                </c:pt>
                <c:pt idx="2">
                  <c:v>58</c:v>
                </c:pt>
                <c:pt idx="3">
                  <c:v>28</c:v>
                </c:pt>
                <c:pt idx="4">
                  <c:v>19</c:v>
                </c:pt>
                <c:pt idx="5">
                  <c:v>20</c:v>
                </c:pt>
                <c:pt idx="6">
                  <c:v>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62%</c:v>
                  </c:pt>
                  <c:pt idx="1">
                    <c:v>6%</c:v>
                  </c:pt>
                  <c:pt idx="2">
                    <c:v>58%</c:v>
                  </c:pt>
                  <c:pt idx="3">
                    <c:v>28%</c:v>
                  </c:pt>
                  <c:pt idx="4">
                    <c:v>19%</c:v>
                  </c:pt>
                  <c:pt idx="5">
                    <c:v>20%</c:v>
                  </c:pt>
                  <c:pt idx="6">
                    <c:v>7%</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AD65A3D5-4D3E-410F-A321-3396F345E53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F978155F-FFC1-48C9-8559-BBF70DD792A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0DE3F9C9-7E29-4841-B4AB-DB5AEA002C1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FADD1240-1BD6-4D32-AE36-872521FD60F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3269AD2F-DE9B-4DD8-BC8C-906EF63B94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5BF4CA7B-B87D-49E4-88B3-708A3401BD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7</c:v>
                </c:pt>
                <c:pt idx="1">
                  <c:v>21</c:v>
                </c:pt>
                <c:pt idx="2">
                  <c:v>36</c:v>
                </c:pt>
                <c:pt idx="3">
                  <c:v>41</c:v>
                </c:pt>
                <c:pt idx="4">
                  <c:v>7</c:v>
                </c:pt>
                <c:pt idx="5">
                  <c:v>16</c:v>
                </c:pt>
                <c:pt idx="6">
                  <c:v>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27%</c:v>
                  </c:pt>
                  <c:pt idx="1">
                    <c:v>21%</c:v>
                  </c:pt>
                  <c:pt idx="2">
                    <c:v>36%</c:v>
                  </c:pt>
                  <c:pt idx="3">
                    <c:v>41%</c:v>
                  </c:pt>
                  <c:pt idx="4">
                    <c:v>7%</c:v>
                  </c:pt>
                  <c:pt idx="5">
                    <c:v>16%</c:v>
                  </c:pt>
                  <c:pt idx="6">
                    <c:v>8%</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6</c:v>
                </c:pt>
                <c:pt idx="1">
                  <c:v>39</c:v>
                </c:pt>
                <c:pt idx="2">
                  <c:v>5</c:v>
                </c:pt>
                <c:pt idx="3">
                  <c:v>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7</c:v>
                </c:pt>
                <c:pt idx="1">
                  <c:v>39</c:v>
                </c:pt>
                <c:pt idx="2">
                  <c:v>3</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1%</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78</c:v>
                </c:pt>
                <c:pt idx="1">
                  <c:v>0.76</c:v>
                </c:pt>
                <c:pt idx="2">
                  <c:v>0.78</c:v>
                </c:pt>
                <c:pt idx="3">
                  <c:v>0.9</c:v>
                </c:pt>
                <c:pt idx="4">
                  <c:v>0.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E78AA74A-98A0-4CD9-8516-64C5E3876C3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C4C3EF35-CE02-4633-9812-FD989FA0ED7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028C4B7D-0A37-4AB2-9E32-42E128FC9F0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BB3754D9-FCCC-4559-89DC-68E6DBDEBA7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22</c:v>
                </c:pt>
                <c:pt idx="1">
                  <c:v>0.24</c:v>
                </c:pt>
                <c:pt idx="2">
                  <c:v>0.22</c:v>
                </c:pt>
                <c:pt idx="3">
                  <c:v>0.1</c:v>
                </c:pt>
                <c:pt idx="4">
                  <c:v>0.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78%</c:v>
                  </c:pt>
                  <c:pt idx="1">
                    <c:v>76%</c:v>
                  </c:pt>
                  <c:pt idx="2">
                    <c:v>78%</c:v>
                  </c:pt>
                  <c:pt idx="3">
                    <c:v>90%</c:v>
                  </c:pt>
                  <c:pt idx="4">
                    <c:v>80%</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MID AND SOUTH ESSEX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MID AND SOUTH ESSEX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MID AND SOUTH ESSEX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MID AND SOUTH ESSEX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MID AND SOUTH ESSEX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100" b="0" dirty="0">
                <a:solidFill>
                  <a:prstClr val="white"/>
                </a:solidFill>
                <a:latin typeface="Arial Black" panose="020B0A04020102020204" pitchFamily="34" charset="0"/>
              </a:rPr>
              <a:t>MID AND SOUTH ESSEX INTEGRATED CARE SYSTEM</a:t>
            </a:r>
            <a:endParaRPr lang="en-GB" sz="31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659084435"/>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783805959"/>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124666177"/>
              </p:ext>
            </p:extLst>
          </p:nvPr>
        </p:nvGraphicFramePr>
        <p:xfrm>
          <a:off x="6269496" y="2332713"/>
          <a:ext cx="5339912" cy="338074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00000"/>
                        </a:lnSpc>
                        <a:spcBef>
                          <a:spcPts val="1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Healthcare professionals having a conversation about what would happen next with their diabetes care at the time of diagnosis
Having a weight and BMI check as part of their last annual review
Having a urine test as part of their last annual review
Having a blood test check as part of their last annual review
Having a smoking status review as part of their last annual review
Healthcare professionals providing support to monitor blood sugar levels
Healthcare professionals providing support in taking part in physical activity
Healthcare professionals providing information about the potential complications of living with diabete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708535734"/>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MID AND SOUTH ESSEX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09318081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08555066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84% of respondents who were marked as Type 1 in the sample selected ‘Type 1’, 14% selected ‘Type 2’, 1% selected ‘Other’ and 1% selected ‘I don’t know’ ​</a:t>
            </a:r>
          </a:p>
          <a:p>
            <a:pPr marL="171450" indent="-171450">
              <a:buFont typeface="Arial" panose="020B0604020202020204" pitchFamily="34" charset="0"/>
              <a:buChar char="•"/>
              <a:defRPr/>
            </a:pPr>
            <a:r>
              <a:rPr lang="en-GB" sz="1200" dirty="0">
                <a:solidFill>
                  <a:schemeClr val="tx1"/>
                </a:solidFill>
                <a:effectLst/>
              </a:rPr>
              <a:t>88% of respondents who were marked as Type 2 in the sample selected ‘Type 2’, 4% selected ‘Type 1’, 3% selected ‘Other’ and 5%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356); Type 2, ICS (519)).</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937865701"/>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4084919591"/>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166673962"/>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3957862564"/>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220410769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11); Type 2, National (19,941), ICS (433))</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354224547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295791695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21); Type 2, National (22,278), ICS (475))</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192179236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331488440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04); Type 2, National (21,082), ICS (463))</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159083049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122969802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357); Type 2, National (24,180), ICS (517))</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2073899643"/>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910578970"/>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2901051852"/>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656890806"/>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140542582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338); Type 2, National (22,482), ICS (479))</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415691309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99047285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300927189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387677204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173590831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243485968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316149341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15630204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265897015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344); Type 2, National (22,670), ICS (477))</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165595373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124716720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126656007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258419010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252732744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107110640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9019704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201425908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348715088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355); Type 2, National (24,076), ICS (514))</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59893937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223443803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329123704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135642609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97932740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1322717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383181332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401557330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355); Type 2, National (24,153), ICS (513))</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333992434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112116484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198326684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36918877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70915442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270355067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73268271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354989093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408813320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356); Type 2, National (24,135), ICS (513))</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50603931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78739122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111956608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176703380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185552422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15948935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401503678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181320221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243613145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56); Type 2, National (24,084), ICS (510))</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197207974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396936380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266272345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117284988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93593823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401823676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280919044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331825492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178516194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56); Type 2, National (24,070), ICS (514))</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135080348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1574318914"/>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256368159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4025689871"/>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2550003000"/>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163421641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3484106771"/>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163951402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396915579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56); Type 2, National (24,260), ICS (516))</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125317456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1155114688"/>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326914818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269207904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406730791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292496762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221814089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313348243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386928723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355); Type 2, National (24,267), ICS (514))</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292573038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407525823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50208788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263271124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74063027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295672541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260523563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226676752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421249744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57); Type 2, National (24,196), ICS (509))</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291147510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68812634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264297696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356); Type 2, National (24,019), ICS (510))</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22189942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225489805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76); Type 2, National (11,860), ICS (258))</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235256866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309734761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45); Type 2, National (21,228), ICS (444))</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54317317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58160131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42); Type 2, National (20,915), ICS (450))</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265133541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170501155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33); Type 2, National (20,086), ICS (430))</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377834679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241936128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41); Type 2, National (21,890), ICS (461))</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266690528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314710718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13); Type 2, National (18,585), ICS (403))</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312115982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244386470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123003050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399786049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268367163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96027121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57108887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418469232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350); Type 2, National (22,580), ICS (475))</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264360645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3501763981"/>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1205382864"/>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3123560789"/>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1046672709"/>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132172699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66); Type 2, National (12,350), ICS (277))</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35654314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406126449"/>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179630004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35681643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230917660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104542136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152990171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336015474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34); Type 2, National (10,911), ICS (237))</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340857144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732313786"/>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491840142"/>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670593519"/>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655309416"/>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1376916957"/>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292162541"/>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340))</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159240450"/>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880316918"/>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831328000"/>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856119833"/>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20172285"/>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3453675276"/>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473))</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MID AND SOUTH ESSEX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159</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878</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1%</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357</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21</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857</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302</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764350567"/>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408942706"/>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3335411825"/>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1311938359"/>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3912960212"/>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3975884717"/>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3859415640"/>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MID AND SOUTH ESSEX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984432546"/>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Participating in a course about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292769420"/>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479290705"/>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weight and BMI check as part of their last annual review
Having a urine test as part of their last annual review
Having a smoking status review as part of their last annual review</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807169168"/>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2.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76A31D0-D410-459F-8B3A-5041DA332E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1</TotalTime>
  <Words>5393</Words>
  <Application>Microsoft Office PowerPoint</Application>
  <PresentationFormat>Widescreen</PresentationFormat>
  <Paragraphs>810</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 (Body)</vt:lpstr>
      <vt:lpstr>Wingdings</vt:lpstr>
      <vt:lpstr>HelveticaNeueLT Std Lt Cn</vt:lpstr>
      <vt:lpstr>Arial Black</vt:lpstr>
      <vt:lpstr>Arial</vt:lpstr>
      <vt:lpstr>Barlow</vt:lpstr>
      <vt:lpstr>Wingdings 3</vt:lpstr>
      <vt:lpstr>Roboto</vt:lpstr>
      <vt:lpstr>Segoe UI</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Katherine Fisher</cp:lastModifiedBy>
  <cp:revision>173</cp:revision>
  <cp:lastPrinted>2024-09-17T13:37:47Z</cp:lastPrinted>
  <dcterms:created xsi:type="dcterms:W3CDTF">2024-06-17T14:42:21Z</dcterms:created>
  <dcterms:modified xsi:type="dcterms:W3CDTF">2024-12-04T10:2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